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838841499" r:id="rId2"/>
    <p:sldId id="838841500" r:id="rId3"/>
    <p:sldId id="838841501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9" d="100"/>
          <a:sy n="79" d="100"/>
        </p:scale>
        <p:origin x="120" y="6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0FABED-5AF6-4343-986E-5372EAC9E239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4AD725-E429-4A64-A495-4E3AC5C4C4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750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19EC-2D8A-44D0-A0C2-E4250784E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04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19EC-2D8A-44D0-A0C2-E4250784E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9082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19EC-2D8A-44D0-A0C2-E4250784E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5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eneric 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350B4-B0B9-43BE-902B-0FCE2C006D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4817" y="2663827"/>
            <a:ext cx="12206817" cy="3245777"/>
          </a:xfrm>
          <a:solidFill>
            <a:schemeClr val="bg1">
              <a:lumMod val="6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12172" y="723537"/>
            <a:ext cx="10916168" cy="990000"/>
          </a:xfrm>
        </p:spPr>
        <p:txBody>
          <a:bodyPr anchor="b"/>
          <a:lstStyle>
            <a:lvl1pPr algn="l">
              <a:defRPr sz="54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59375" y="1744606"/>
            <a:ext cx="5436189" cy="319347"/>
          </a:xfrm>
        </p:spPr>
        <p:txBody>
          <a:bodyPr lIns="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6B013B-96B8-4998-81DC-915E6F7249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248" y="2051682"/>
            <a:ext cx="5435753" cy="295600"/>
          </a:xfrm>
        </p:spPr>
        <p:txBody>
          <a:bodyPr lIns="0"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  <a:lvl2pPr marL="3600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69">
            <a:extLst>
              <a:ext uri="{FF2B5EF4-FFF2-40B4-BE49-F238E27FC236}">
                <a16:creationId xmlns:a16="http://schemas.microsoft.com/office/drawing/2014/main" id="{88BE491E-CDF0-45CC-9C1B-FAF56EA9F3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4249" y="1744605"/>
            <a:ext cx="5435756" cy="319347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n-lt"/>
              </a:defRPr>
            </a:lvl1pPr>
            <a:lvl2pPr marL="360000" indent="0">
              <a:buNone/>
              <a:defRPr/>
            </a:lvl2pPr>
            <a:lvl3pPr marL="720000" indent="0">
              <a:buNone/>
              <a:defRPr/>
            </a:lvl3pPr>
            <a:lvl4pPr marL="1079025" indent="0">
              <a:buNone/>
              <a:defRPr/>
            </a:lvl4pPr>
            <a:lvl5pPr marL="14400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4CD75F22-6A5A-419E-ADB4-756CEF195D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5545" y="2051682"/>
            <a:ext cx="5435756" cy="295600"/>
          </a:xfrm>
        </p:spPr>
        <p:txBody>
          <a:bodyPr lIns="0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3600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Box 25" descr="CONFIDENTIAL_TAG_0xFFEE">
            <a:extLst>
              <a:ext uri="{FF2B5EF4-FFF2-40B4-BE49-F238E27FC236}">
                <a16:creationId xmlns:a16="http://schemas.microsoft.com/office/drawing/2014/main" id="{9BA3004B-E781-4FD2-BDC9-D5B0343AFE38}"/>
              </a:ext>
            </a:extLst>
          </p:cNvPr>
          <p:cNvSpPr txBox="1"/>
          <p:nvPr userDrawn="1"/>
        </p:nvSpPr>
        <p:spPr>
          <a:xfrm>
            <a:off x="531285" y="6349735"/>
            <a:ext cx="4253121" cy="2769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algn="l"/>
            <a:r>
              <a:rPr lang="en-GB" sz="1200" b="0" i="0" u="none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CONFIDENTIAL</a:t>
            </a:r>
            <a:endParaRPr lang="en-GB" sz="1200" b="0" i="0" u="none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0D71BB8-A70F-4AB7-A0F6-4FE063ACB31D}"/>
              </a:ext>
            </a:extLst>
          </p:cNvPr>
          <p:cNvSpPr/>
          <p:nvPr userDrawn="1"/>
        </p:nvSpPr>
        <p:spPr>
          <a:xfrm>
            <a:off x="-7736" y="6159091"/>
            <a:ext cx="12199735" cy="7078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600"/>
              </a:spcAft>
            </a:pPr>
            <a:endParaRPr lang="en-GB" sz="1400" dirty="0" err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08D6AD-B688-47F2-8192-87BAAAADA1E7}"/>
              </a:ext>
            </a:extLst>
          </p:cNvPr>
          <p:cNvGrpSpPr/>
          <p:nvPr userDrawn="1"/>
        </p:nvGrpSpPr>
        <p:grpSpPr>
          <a:xfrm>
            <a:off x="10119452" y="6388988"/>
            <a:ext cx="1406339" cy="232995"/>
            <a:chOff x="4330700" y="3700463"/>
            <a:chExt cx="3602038" cy="550862"/>
          </a:xfrm>
          <a:solidFill>
            <a:schemeClr val="bg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7B566CA3-F9EA-47EC-8D6A-178ECFB626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AA82710-1327-4101-ABDA-82B1621282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E300E16D-5E62-442C-A8D0-79B0CF2394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A21B921-64A2-40F6-8E69-CA8F7D3C7E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DEE34A30-6B4F-4E3C-949A-8AE5B1DC2E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8F43AA79-2326-4F2D-A71F-6CED7E73F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A8FECB4D-E74B-40F8-940B-BE02099A9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140924BD-70F1-4C93-B0CD-903DA347D9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ACE7A0D8-854A-483A-A266-7B61BEF68A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59" name="Freeform 14">
              <a:extLst>
                <a:ext uri="{FF2B5EF4-FFF2-40B4-BE49-F238E27FC236}">
                  <a16:creationId xmlns:a16="http://schemas.microsoft.com/office/drawing/2014/main" id="{342D1B4F-87C7-47EC-A872-F043E78BBB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60" name="Freeform 15">
              <a:extLst>
                <a:ext uri="{FF2B5EF4-FFF2-40B4-BE49-F238E27FC236}">
                  <a16:creationId xmlns:a16="http://schemas.microsoft.com/office/drawing/2014/main" id="{C9256B92-17C5-46E4-B8CD-39E3006A1B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61" name="Freeform 16">
              <a:extLst>
                <a:ext uri="{FF2B5EF4-FFF2-40B4-BE49-F238E27FC236}">
                  <a16:creationId xmlns:a16="http://schemas.microsoft.com/office/drawing/2014/main" id="{C1BE9437-ECF1-4988-829B-95E2B5867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1088783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481" y="372918"/>
            <a:ext cx="10884537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6" y="6412851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EB209FB-C878-4744-8918-6CD17764A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575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206" y="372918"/>
            <a:ext cx="10092812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6" y="6412851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C93847F-705B-41B0-8FBD-40574B67A508}"/>
              </a:ext>
            </a:extLst>
          </p:cNvPr>
          <p:cNvSpPr/>
          <p:nvPr userDrawn="1"/>
        </p:nvSpPr>
        <p:spPr>
          <a:xfrm>
            <a:off x="659704" y="349123"/>
            <a:ext cx="540000" cy="5400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FF00429-9BC7-4976-B0E2-2C2226F6C1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430" y="397667"/>
            <a:ext cx="590549" cy="442912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60000" indent="0">
              <a:buNone/>
              <a:defRPr sz="2400"/>
            </a:lvl2pPr>
            <a:lvl3pPr marL="720000" indent="0">
              <a:buNone/>
              <a:defRPr sz="2400"/>
            </a:lvl3pPr>
            <a:lvl4pPr marL="1079025" indent="0">
              <a:buNone/>
              <a:defRPr sz="2400"/>
            </a:lvl4pPr>
            <a:lvl5pPr marL="1440000" indent="0">
              <a:buNone/>
              <a:defRPr sz="2400"/>
            </a:lvl5pPr>
          </a:lstStyle>
          <a:p>
            <a:pPr lvl="0"/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E0EA667-AB9E-40E4-8F6B-CEFC6AE20E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46277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1" y="6412848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4BBCE3B-C0B5-4B7A-9F57-6E9328909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82239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59BDC65D-0362-4A9F-9A27-6AFC8F952D61}"/>
              </a:ext>
            </a:extLst>
          </p:cNvPr>
          <p:cNvGrpSpPr/>
          <p:nvPr userDrawn="1"/>
        </p:nvGrpSpPr>
        <p:grpSpPr>
          <a:xfrm>
            <a:off x="3791115" y="3087605"/>
            <a:ext cx="4609771" cy="682791"/>
            <a:chOff x="4330700" y="3700463"/>
            <a:chExt cx="3602038" cy="550862"/>
          </a:xfrm>
          <a:solidFill>
            <a:schemeClr val="bg1"/>
          </a:solidFill>
        </p:grpSpPr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5722AEC0-1783-42A1-95AE-C9C3D4DFC0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4">
              <a:extLst>
                <a:ext uri="{FF2B5EF4-FFF2-40B4-BE49-F238E27FC236}">
                  <a16:creationId xmlns:a16="http://schemas.microsoft.com/office/drawing/2014/main" id="{7A02E69C-D05A-4200-97F6-673A2C450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D0FDF06-6EDA-46B5-9BA4-3FE4F593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500DE058-CF07-43BC-BCBD-AE4EC80D3F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D73674DA-6718-4001-884B-D9F2F4362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7A2A2214-400E-4769-ADD7-6F9FA891B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A5251B2E-A740-4B33-98B5-B90720E42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1D81C09-1D33-4B43-86DD-ABA7CC767B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054E719-5571-45BE-AB26-C17B19E37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0F11E554-2F3E-4EA1-B1FD-AEDBB00985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668E1AE1-1F57-4B30-840D-C5F9B0CC4A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4C5160FA-CF5A-4A25-98D0-B6AB7EEB6F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1841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s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60039D-DBAE-4FD5-A367-6884A5D7CD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296" y="5922821"/>
            <a:ext cx="4858109" cy="319088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606CCD7-C3BA-4745-953A-70AC6BFE1818}"/>
              </a:ext>
            </a:extLst>
          </p:cNvPr>
          <p:cNvGrpSpPr/>
          <p:nvPr userDrawn="1"/>
        </p:nvGrpSpPr>
        <p:grpSpPr>
          <a:xfrm>
            <a:off x="658813" y="2546426"/>
            <a:ext cx="2491501" cy="557829"/>
            <a:chOff x="4330700" y="3700463"/>
            <a:chExt cx="2665413" cy="550862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9353E783-ED14-480B-AB9E-0A036A171D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13B8013-9158-441C-B44E-E0D8FB6DE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5F2A5C38-A5F4-403C-9A97-D88BA84A65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47B9EA8-2CB1-4A31-8611-AD7AAD2E0B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CFA4A2A7-E851-4286-86A8-A4EE7F2DB0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F6B947A0-944D-4D9E-817D-CD6403B268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99362A31-614B-4123-AAF2-67C3F7C77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FDA79775-7124-498B-9CD0-875E26C100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9CB88539-93B7-4D9D-BD18-51D1B714B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F291C1E6-1066-4904-94D5-804CD89E60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170" y="4034345"/>
            <a:ext cx="10556687" cy="990000"/>
          </a:xfrm>
        </p:spPr>
        <p:txBody>
          <a:bodyPr anchor="b"/>
          <a:lstStyle>
            <a:lvl1pPr algn="l"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87AA908-8CDF-450D-810D-5542BCD4B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296" y="5035724"/>
            <a:ext cx="7665557" cy="484809"/>
          </a:xfrm>
        </p:spPr>
        <p:txBody>
          <a:bodyPr anchor="b"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7975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265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18"/>
            <a:ext cx="11076561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3" y="6412849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38"/>
            <a:ext cx="11042649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B8EB2A-8A50-4761-BDA5-DAB8B86EC1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C15F27D-815F-4D56-B77C-ECE3B6B17D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1513" y="4512178"/>
            <a:ext cx="10861675" cy="9144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4080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2"/>
            <a:ext cx="10850033" cy="41459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E61C598-229F-4965-B7EE-186CD27FB9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1145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3"/>
            <a:ext cx="10850033" cy="107256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4595570-D965-4014-A140-C07D219A5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730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2"/>
            <a:ext cx="5425015" cy="41459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F959C25-0CCF-4E3D-867F-28E28A7EE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1413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009" y="1556332"/>
            <a:ext cx="6613525" cy="4357106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6883128-5080-4FD6-A3A6-6152A8ACBA8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939043" y="1556332"/>
            <a:ext cx="3599208" cy="4357106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A51E27E-7D82-43B6-9F43-511AB7216E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93879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0820" y="1556332"/>
            <a:ext cx="5425015" cy="4357106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2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40"/>
            <a:ext cx="10850035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87C5648-A030-4AD9-B246-CAC29F0AD7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067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20"/>
            <a:ext cx="10883356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985" y="1556332"/>
            <a:ext cx="10850033" cy="41459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0" y="6412847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7A3C7C5-3DAB-4B9A-AA4E-262F41B3F8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85065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73" y="372918"/>
            <a:ext cx="11076561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3" y="6412849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815838"/>
            <a:ext cx="11042649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B8EB2A-8A50-4761-BDA5-DAB8B86EC1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505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9818" y="372918"/>
            <a:ext cx="10273815" cy="420413"/>
          </a:xfrm>
        </p:spPr>
        <p:txBody>
          <a:bodyPr/>
          <a:lstStyle>
            <a:lvl1pPr marL="0" indent="0">
              <a:defRPr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63" y="6412849"/>
            <a:ext cx="587721" cy="24100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FCB19A-6101-48F1-893D-543D6450B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1273" y="815838"/>
            <a:ext cx="10242360" cy="301983"/>
          </a:xfrm>
        </p:spPr>
        <p:txBody>
          <a:bodyPr lIns="0">
            <a:noAutofit/>
          </a:bodyPr>
          <a:lstStyle>
            <a:lvl1pPr marL="0" indent="0">
              <a:buNone/>
              <a:defRPr sz="1800" b="1"/>
            </a:lvl1pPr>
            <a:lvl2pPr marL="4476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D474710-2617-4185-818F-D9E03625CE17}"/>
              </a:ext>
            </a:extLst>
          </p:cNvPr>
          <p:cNvSpPr/>
          <p:nvPr userDrawn="1"/>
        </p:nvSpPr>
        <p:spPr>
          <a:xfrm>
            <a:off x="659704" y="349123"/>
            <a:ext cx="540000" cy="5400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E344676-BBAE-48A7-8936-689890F9C9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430" y="397667"/>
            <a:ext cx="590549" cy="442912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60000" indent="0">
              <a:buNone/>
              <a:defRPr sz="2400"/>
            </a:lvl2pPr>
            <a:lvl3pPr marL="720000" indent="0">
              <a:buNone/>
              <a:defRPr sz="2400"/>
            </a:lvl3pPr>
            <a:lvl4pPr marL="1079025" indent="0">
              <a:buNone/>
              <a:defRPr sz="2400"/>
            </a:lvl4pPr>
            <a:lvl5pPr marL="1440000" indent="0">
              <a:buNone/>
              <a:defRPr sz="2400"/>
            </a:lvl5pPr>
          </a:lstStyle>
          <a:p>
            <a:pPr lvl="0"/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3B107B0-7EE7-401D-AE8D-F3EC7AC08C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5537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5EBE6D-22A0-4273-A079-2D09251DDD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85EBE6D-22A0-4273-A079-2D09251DD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ABF1F83-76D9-424E-AC81-B3F6296033C1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>
              <a:spcAft>
                <a:spcPts val="600"/>
              </a:spcAft>
            </a:pPr>
            <a:endParaRPr lang="en-GB" sz="3000" b="1" i="0" baseline="0" dirty="0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480" y="280109"/>
            <a:ext cx="10891859" cy="6830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984" y="1441586"/>
            <a:ext cx="10850035" cy="407932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dirty="0"/>
              <a:t>Click to edit Master text styles 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86917" y="6370542"/>
            <a:ext cx="7353845" cy="3089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80000"/>
              </a:lnSpc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58E3F5-68E8-4F5F-9C17-6B5E8C881944}"/>
              </a:ext>
            </a:extLst>
          </p:cNvPr>
          <p:cNvCxnSpPr/>
          <p:nvPr userDrawn="1"/>
        </p:nvCxnSpPr>
        <p:spPr>
          <a:xfrm>
            <a:off x="659372" y="6159090"/>
            <a:ext cx="108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77080A3F-FD55-4165-942F-B206C54EC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3165" y="6405382"/>
            <a:ext cx="587721" cy="241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F8DEEF1C-85D8-4622-96D6-431C752B733C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ED3D428-548C-495C-854A-42D7CFFBF62F}"/>
              </a:ext>
            </a:extLst>
          </p:cNvPr>
          <p:cNvGrpSpPr/>
          <p:nvPr userDrawn="1"/>
        </p:nvGrpSpPr>
        <p:grpSpPr>
          <a:xfrm>
            <a:off x="10136379" y="6392760"/>
            <a:ext cx="1406339" cy="232995"/>
            <a:chOff x="4330700" y="3700463"/>
            <a:chExt cx="3602038" cy="550862"/>
          </a:xfrm>
          <a:solidFill>
            <a:schemeClr val="accent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C289E780-C6A2-4C16-90C3-7857C866C9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51C4777E-B5D5-49EC-841E-EF2C9EE0C2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234AFE1B-F901-4742-AC64-BF62B715E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AF6A9CCB-9223-41EA-85B1-53B1A44C1C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7041544C-5C8D-4069-A4BF-1ABE585016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6311779D-3765-44EB-AF5F-E35DF761BF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7EE4E319-B8F5-4965-A43D-31D2A64D25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C0FC9DC6-77A0-4073-9424-10D5EF6114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CC65DC20-0436-4FD2-B8C4-98DC1A14B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319AE083-F4FA-4C4A-A060-B168922E88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9D5C0FE6-8ED0-48C3-BE85-87DD3FF236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05A82BBD-1A6E-47B6-8D31-35C462C620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</p:grpSp>
      <p:sp>
        <p:nvSpPr>
          <p:cNvPr id="7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A9AABCE8-F60B-4EFA-B2C5-E505CD93BA55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noAutofit/>
          </a:bodyPr>
          <a:lstStyle/>
          <a:p>
            <a:pPr marL="285750" indent="-28575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  <a:endParaRPr lang="en-GB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098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975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4088">
          <p15:clr>
            <a:srgbClr val="F26B43"/>
          </p15:clr>
        </p15:guide>
        <p15:guide id="3" pos="317">
          <p15:clr>
            <a:srgbClr val="F26B43"/>
          </p15:clr>
        </p15:guide>
        <p15:guide id="4" pos="5443">
          <p15:clr>
            <a:srgbClr val="F26B43"/>
          </p15:clr>
        </p15:guide>
        <p15:guide id="5" orient="horz" pos="3725">
          <p15:clr>
            <a:srgbClr val="F26B43"/>
          </p15:clr>
        </p15:guide>
        <p15:guide id="6" pos="3840">
          <p15:clr>
            <a:srgbClr val="F26B43"/>
          </p15:clr>
        </p15:guide>
        <p15:guide id="7" pos="7265">
          <p15:clr>
            <a:srgbClr val="F26B43"/>
          </p15:clr>
        </p15:guide>
        <p15:guide id="8" pos="415">
          <p15:clr>
            <a:srgbClr val="F26B43"/>
          </p15:clr>
        </p15:guide>
        <p15:guide id="9" pos="12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421348-5560-4AF2-96CC-1608DF601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421348-5560-4AF2-96CC-1608DF601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01D1D6-E760-4F8A-B13A-7F26F3006B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D794F0-B5C4-405E-9BD1-9142C78DC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OM Area specific questions: check-in on the Pathway to Change Agreemen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2C843-3D9B-4440-9E43-7CB43E842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3172" y="5869507"/>
            <a:ext cx="587721" cy="24100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DEEF1C-85D8-4622-96D6-431C752B733C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C367FAD-9692-416F-A690-B79DDE413CCD}"/>
              </a:ext>
            </a:extLst>
          </p:cNvPr>
          <p:cNvGrpSpPr/>
          <p:nvPr/>
        </p:nvGrpSpPr>
        <p:grpSpPr>
          <a:xfrm>
            <a:off x="6672926" y="4745570"/>
            <a:ext cx="3150350" cy="261610"/>
            <a:chOff x="1205688" y="4354143"/>
            <a:chExt cx="1858887" cy="176055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4930156-E01C-45AF-B9F5-AE3A1D5C082F}"/>
                </a:ext>
              </a:extLst>
            </p:cNvPr>
            <p:cNvSpPr txBox="1"/>
            <p:nvPr/>
          </p:nvSpPr>
          <p:spPr>
            <a:xfrm>
              <a:off x="1255377" y="4354143"/>
              <a:ext cx="1809198" cy="176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avourable          Neutral           Unfavorable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7385F18-6946-4A68-91CB-DCA523EC2522}"/>
                </a:ext>
              </a:extLst>
            </p:cNvPr>
            <p:cNvSpPr/>
            <p:nvPr/>
          </p:nvSpPr>
          <p:spPr>
            <a:xfrm>
              <a:off x="1205688" y="4403243"/>
              <a:ext cx="80562" cy="9343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05B470C-8D2D-4A91-86D5-DEB964080689}"/>
                </a:ext>
              </a:extLst>
            </p:cNvPr>
            <p:cNvSpPr/>
            <p:nvPr/>
          </p:nvSpPr>
          <p:spPr>
            <a:xfrm>
              <a:off x="1761409" y="4396677"/>
              <a:ext cx="80562" cy="9343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64F8C5D6-5EDB-4896-93F4-C3F4772DB426}"/>
                </a:ext>
              </a:extLst>
            </p:cNvPr>
            <p:cNvSpPr/>
            <p:nvPr/>
          </p:nvSpPr>
          <p:spPr>
            <a:xfrm>
              <a:off x="2229840" y="4395508"/>
              <a:ext cx="80562" cy="93431"/>
            </a:xfrm>
            <a:prstGeom prst="rect">
              <a:avLst/>
            </a:prstGeom>
            <a:solidFill>
              <a:srgbClr val="D6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705257C4-9014-48A4-8333-4ED6F3AC2A2E}"/>
              </a:ext>
            </a:extLst>
          </p:cNvPr>
          <p:cNvSpPr txBox="1"/>
          <p:nvPr/>
        </p:nvSpPr>
        <p:spPr>
          <a:xfrm>
            <a:off x="228061" y="2253916"/>
            <a:ext cx="60923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I feel that overtime is allocated fairl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D3A00D9-0E33-4A4D-8CF6-3E6543434EC2}"/>
              </a:ext>
            </a:extLst>
          </p:cNvPr>
          <p:cNvSpPr txBox="1"/>
          <p:nvPr/>
        </p:nvSpPr>
        <p:spPr>
          <a:xfrm>
            <a:off x="1739512" y="3296480"/>
            <a:ext cx="45809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I find it easy to book odd days annual leav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3D367C4-D8CD-41C7-924F-409539F9E211}"/>
              </a:ext>
            </a:extLst>
          </p:cNvPr>
          <p:cNvSpPr txBox="1"/>
          <p:nvPr/>
        </p:nvSpPr>
        <p:spPr>
          <a:xfrm>
            <a:off x="2550290" y="4188912"/>
            <a:ext cx="3770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the revision has resulted in workload that is fair and achievabl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5680F54-4BA0-4BF7-867B-8D065D125A01}"/>
              </a:ext>
            </a:extLst>
          </p:cNvPr>
          <p:cNvSpPr txBox="1"/>
          <p:nvPr/>
        </p:nvSpPr>
        <p:spPr>
          <a:xfrm>
            <a:off x="2739802" y="2678415"/>
            <a:ext cx="3572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y workplace, the revision has allowed part-time employees to progress to full-tim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8CF89DE-7307-46C6-AC4F-0DC761B970B2}"/>
              </a:ext>
            </a:extLst>
          </p:cNvPr>
          <p:cNvSpPr txBox="1"/>
          <p:nvPr/>
        </p:nvSpPr>
        <p:spPr>
          <a:xfrm>
            <a:off x="2293128" y="3796320"/>
            <a:ext cx="40273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have felt involved in the revision in my workplace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57685C1-2785-4B62-BEC1-3D6F6C9630CF}"/>
              </a:ext>
            </a:extLst>
          </p:cNvPr>
          <p:cNvSpPr/>
          <p:nvPr/>
        </p:nvSpPr>
        <p:spPr>
          <a:xfrm>
            <a:off x="10308921" y="183398"/>
            <a:ext cx="1703540" cy="552793"/>
          </a:xfrm>
          <a:prstGeom prst="ellipse">
            <a:avLst/>
          </a:prstGeom>
          <a:solidFill>
            <a:srgbClr val="1721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ust</a:t>
            </a:r>
          </a:p>
        </p:txBody>
      </p:sp>
      <p:sp>
        <p:nvSpPr>
          <p:cNvPr id="30" name="Text Box 2">
            <a:extLst>
              <a:ext uri="{FF2B5EF4-FFF2-40B4-BE49-F238E27FC236}">
                <a16:creationId xmlns:a16="http://schemas.microsoft.com/office/drawing/2014/main" id="{FA933144-E9F6-4C57-B0F6-83D215520B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276" y="708843"/>
            <a:ext cx="5424388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404044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January Trust Check-in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71FB9C1-3A3A-4726-BAF8-33593D26573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5690" y="2273700"/>
            <a:ext cx="3206057" cy="238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7220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421348-5560-4AF2-96CC-1608DF601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421348-5560-4AF2-96CC-1608DF601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01D1D6-E760-4F8A-B13A-7F26F3006B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D794F0-B5C4-405E-9BD1-9142C78DC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OM Area specific questions: check-in on the Pathway to Change Agreemen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2C843-3D9B-4440-9E43-7CB43E842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DEEF1C-85D8-4622-96D6-431C752B733C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57685C1-2785-4B62-BEC1-3D6F6C9630CF}"/>
              </a:ext>
            </a:extLst>
          </p:cNvPr>
          <p:cNvSpPr/>
          <p:nvPr/>
        </p:nvSpPr>
        <p:spPr>
          <a:xfrm>
            <a:off x="10308921" y="183398"/>
            <a:ext cx="1703540" cy="552793"/>
          </a:xfrm>
          <a:prstGeom prst="ellipse">
            <a:avLst/>
          </a:prstGeom>
          <a:solidFill>
            <a:srgbClr val="1721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ust</a:t>
            </a:r>
          </a:p>
        </p:txBody>
      </p:sp>
      <p:sp>
        <p:nvSpPr>
          <p:cNvPr id="25" name="Text Box 2">
            <a:extLst>
              <a:ext uri="{FF2B5EF4-FFF2-40B4-BE49-F238E27FC236}">
                <a16:creationId xmlns:a16="http://schemas.microsoft.com/office/drawing/2014/main" id="{5F777469-4A38-4022-B274-4BF7DCB540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276" y="1108131"/>
            <a:ext cx="5424388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Heatmap to show differences across SDL area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D16D0F-E254-4789-917A-7FA02EBC5C0A}"/>
              </a:ext>
            </a:extLst>
          </p:cNvPr>
          <p:cNvSpPr/>
          <p:nvPr/>
        </p:nvSpPr>
        <p:spPr>
          <a:xfrm>
            <a:off x="591522" y="5665379"/>
            <a:ext cx="5327041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dirty="0">
                <a:latin typeface="ChevinLight" panose="02000300000000000000" pitchFamily="2" charset="0"/>
              </a:rPr>
              <a:t>NB: T</a:t>
            </a:r>
            <a:r>
              <a:rPr lang="en-US" sz="1100" dirty="0">
                <a:latin typeface="ChevinLight" panose="02000300000000000000" pitchFamily="2" charset="0"/>
              </a:rPr>
              <a:t>he blue represents a positive difference of 5 or more compared to SDLs overall. The red represents a negative difference of 5 or more compared to SDLs overall.</a:t>
            </a:r>
          </a:p>
          <a:p>
            <a:endParaRPr lang="en-GB" sz="1200" dirty="0"/>
          </a:p>
        </p:txBody>
      </p:sp>
      <p:sp>
        <p:nvSpPr>
          <p:cNvPr id="12" name="Text Box 2">
            <a:extLst>
              <a:ext uri="{FF2B5EF4-FFF2-40B4-BE49-F238E27FC236}">
                <a16:creationId xmlns:a16="http://schemas.microsoft.com/office/drawing/2014/main" id="{B84EF730-A2CB-4DF9-BC3E-5B67D3A4F1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276" y="708843"/>
            <a:ext cx="5424388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404044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January Trust Check-in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7A9336-503D-419A-8BA8-9B4576FF96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5583" y="1444054"/>
            <a:ext cx="7350452" cy="4160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069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421348-5560-4AF2-96CC-1608DF601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421348-5560-4AF2-96CC-1608DF601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01D1D6-E760-4F8A-B13A-7F26F3006B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D794F0-B5C4-405E-9BD1-9142C78DC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OM Area specific questions: check-in on the Pathway to Change Agreemen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2C843-3D9B-4440-9E43-7CB43E842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3172" y="5869507"/>
            <a:ext cx="587721" cy="24100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DEEF1C-85D8-4622-96D6-431C752B733C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57685C1-2785-4B62-BEC1-3D6F6C9630CF}"/>
              </a:ext>
            </a:extLst>
          </p:cNvPr>
          <p:cNvSpPr/>
          <p:nvPr/>
        </p:nvSpPr>
        <p:spPr>
          <a:xfrm>
            <a:off x="10308921" y="183398"/>
            <a:ext cx="1703540" cy="552793"/>
          </a:xfrm>
          <a:prstGeom prst="ellipse">
            <a:avLst/>
          </a:prstGeom>
          <a:solidFill>
            <a:srgbClr val="1721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ust</a:t>
            </a:r>
          </a:p>
        </p:txBody>
      </p:sp>
      <p:sp>
        <p:nvSpPr>
          <p:cNvPr id="30" name="Text Box 2">
            <a:extLst>
              <a:ext uri="{FF2B5EF4-FFF2-40B4-BE49-F238E27FC236}">
                <a16:creationId xmlns:a16="http://schemas.microsoft.com/office/drawing/2014/main" id="{FA933144-E9F6-4C57-B0F6-83D215520B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276" y="708843"/>
            <a:ext cx="5424388" cy="39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404044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Trends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4040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749C129-0E1A-4E8C-92D5-516BBB5B74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5057" y="1955845"/>
            <a:ext cx="11777404" cy="2946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10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73sDzySI3hHx.MAHXb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rbNlBdSAjSyX72prR6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rbNlBdSAjSyX72prR6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rbNlBdSAjSyX72prR6Uw"/>
</p:tagLst>
</file>

<file path=ppt/theme/theme1.xml><?xml version="1.0" encoding="utf-8"?>
<a:theme xmlns:a="http://schemas.openxmlformats.org/drawingml/2006/main" name="10_Regulations Title Slide">
  <a:themeElements>
    <a:clrScheme name="new RMG">
      <a:dk1>
        <a:srgbClr val="404044"/>
      </a:dk1>
      <a:lt1>
        <a:srgbClr val="FFFFFF"/>
      </a:lt1>
      <a:dk2>
        <a:srgbClr val="53535A"/>
      </a:dk2>
      <a:lt2>
        <a:srgbClr val="F4F4F3"/>
      </a:lt2>
      <a:accent1>
        <a:srgbClr val="DA202A"/>
      </a:accent1>
      <a:accent2>
        <a:srgbClr val="172154"/>
      </a:accent2>
      <a:accent3>
        <a:srgbClr val="C1C6C8"/>
      </a:accent3>
      <a:accent4>
        <a:srgbClr val="62A531"/>
      </a:accent4>
      <a:accent5>
        <a:srgbClr val="088578"/>
      </a:accent5>
      <a:accent6>
        <a:srgbClr val="FFB600"/>
      </a:accent6>
      <a:hlink>
        <a:srgbClr val="0892CB"/>
      </a:hlink>
      <a:folHlink>
        <a:srgbClr val="088578"/>
      </a:folHlink>
    </a:clrScheme>
    <a:fontScheme name="Royal Mail Font Theme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80000" bIns="18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r">
          <a:spcAft>
            <a:spcPts val="600"/>
          </a:spcAft>
          <a:defRPr sz="1600" b="1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marL="285750" indent="-285750" algn="l"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94</TotalTime>
  <Words>159</Words>
  <Application>Microsoft Office PowerPoint</Application>
  <PresentationFormat>Widescreen</PresentationFormat>
  <Paragraphs>23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ChevinLight</vt:lpstr>
      <vt:lpstr>Times New Roman</vt:lpstr>
      <vt:lpstr>Wingdings</vt:lpstr>
      <vt:lpstr>10_Regulations Title Slide</vt:lpstr>
      <vt:lpstr>think-cell Slide</vt:lpstr>
      <vt:lpstr>OM Area specific questions: check-in on the Pathway to Change Agreement </vt:lpstr>
      <vt:lpstr>OM Area specific questions: check-in on the Pathway to Change Agreement </vt:lpstr>
      <vt:lpstr>OM Area specific questions: check-in on the Pathway to Change Agreemen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M Area specific questions: check-in on the Pathway to Change Agreement</dc:title>
  <dc:creator>Carly Pearson</dc:creator>
  <cp:lastModifiedBy>acorbett</cp:lastModifiedBy>
  <cp:revision>22</cp:revision>
  <dcterms:created xsi:type="dcterms:W3CDTF">2021-10-20T08:37:31Z</dcterms:created>
  <dcterms:modified xsi:type="dcterms:W3CDTF">2022-02-01T12:4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2-02-01T09:42:36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>70968f16-3214-4237-b386-259e565bca6f</vt:lpwstr>
  </property>
  <property fmtid="{D5CDD505-2E9C-101B-9397-08002B2CF9AE}" pid="8" name="MSIP_Label_980f36f3-41a5-4f45-a6a2-e224f336accd_ContentBits">
    <vt:lpwstr>2</vt:lpwstr>
  </property>
</Properties>
</file>